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0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D8-441E-AF50-66B2765D4C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D8-441E-AF50-66B2765D4CE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D8-441E-AF50-66B2765D4C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7221887"/>
        <c:axId val="567228607"/>
      </c:barChart>
      <c:catAx>
        <c:axId val="567221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8607"/>
        <c:crosses val="autoZero"/>
        <c:auto val="1"/>
        <c:lblAlgn val="ctr"/>
        <c:lblOffset val="100"/>
        <c:noMultiLvlLbl val="0"/>
      </c:catAx>
      <c:valAx>
        <c:axId val="5672286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1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9D-45CA-BFB7-D2BD5A3ADB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9D-45CA-BFB7-D2BD5A3ADB0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9D-45CA-BFB7-D2BD5A3AD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7221887"/>
        <c:axId val="567228607"/>
      </c:barChart>
      <c:catAx>
        <c:axId val="567221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8607"/>
        <c:crosses val="autoZero"/>
        <c:auto val="1"/>
        <c:lblAlgn val="ctr"/>
        <c:lblOffset val="100"/>
        <c:noMultiLvlLbl val="0"/>
      </c:catAx>
      <c:valAx>
        <c:axId val="5672286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221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5437A-71B8-07CF-01F7-522733465B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03C0F7-BE7A-2F26-8D56-7FA19CCE3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B40BD5-57A3-6D41-A108-677CA4289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18D4E7-ECC6-42C4-F27C-2F46E0C125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560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28DB0-C47A-D3CB-3191-3733C10B23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275E79-EB63-FC64-671F-2742634A2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275E79-EB63-FC64-671F-2742634A2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E80BC58A-D222-D893-80E3-C947B0743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/ Cluster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93EB8B5-31B2-A236-BAAD-9F9672EE4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A87CBA3-35ED-87BC-5F3B-C0FEB53202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FACE304-8CAB-8E05-BE16-A8583DBDF5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51F1B31-EAFE-5F47-8246-BB8E34D199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20" name="Chart Placeholder 19">
            <a:extLst>
              <a:ext uri="{FF2B5EF4-FFF2-40B4-BE49-F238E27FC236}">
                <a16:creationId xmlns:a16="http://schemas.microsoft.com/office/drawing/2014/main" id="{0B15C45A-0EA5-E2D5-ADFE-92247E15CD28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hart Placeholder 19">
            <a:extLst>
              <a:ext uri="{FF2B5EF4-FFF2-40B4-BE49-F238E27FC236}">
                <a16:creationId xmlns:a16="http://schemas.microsoft.com/office/drawing/2014/main" id="{45E86499-FDF3-497C-1043-5F24B12827C8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6687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7</TotalTime>
  <Words>24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/ Cluster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28</cp:revision>
  <dcterms:created xsi:type="dcterms:W3CDTF">2025-07-09T10:57:17Z</dcterms:created>
  <dcterms:modified xsi:type="dcterms:W3CDTF">2025-10-22T10:01:49Z</dcterms:modified>
  <cp:category/>
</cp:coreProperties>
</file>